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6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0993" autoAdjust="0"/>
  </p:normalViewPr>
  <p:slideViewPr>
    <p:cSldViewPr snapToGrid="0">
      <p:cViewPr varScale="1">
        <p:scale>
          <a:sx n="89" d="100"/>
          <a:sy n="89" d="100"/>
        </p:scale>
        <p:origin x="14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lleen Eppig" userId="fd7e2a8a-6485-4b60-b7fc-0d4771a3ec47" providerId="ADAL" clId="{C84E288B-B085-441F-9B4E-E199FA5306C0}"/>
    <pc:docChg chg="custSel addSld delSld modSld">
      <pc:chgData name="Colleen Eppig" userId="fd7e2a8a-6485-4b60-b7fc-0d4771a3ec47" providerId="ADAL" clId="{C84E288B-B085-441F-9B4E-E199FA5306C0}" dt="2025-07-16T12:44:25.448" v="2" actId="47"/>
      <pc:docMkLst>
        <pc:docMk/>
      </pc:docMkLst>
      <pc:sldChg chg="del">
        <pc:chgData name="Colleen Eppig" userId="fd7e2a8a-6485-4b60-b7fc-0d4771a3ec47" providerId="ADAL" clId="{C84E288B-B085-441F-9B4E-E199FA5306C0}" dt="2025-07-16T12:44:25.448" v="2" actId="47"/>
        <pc:sldMkLst>
          <pc:docMk/>
          <pc:sldMk cId="3306972515" sldId="263"/>
        </pc:sldMkLst>
      </pc:sldChg>
      <pc:sldChg chg="delSp add mod">
        <pc:chgData name="Colleen Eppig" userId="fd7e2a8a-6485-4b60-b7fc-0d4771a3ec47" providerId="ADAL" clId="{C84E288B-B085-441F-9B4E-E199FA5306C0}" dt="2025-07-16T12:44:08.374" v="1" actId="478"/>
        <pc:sldMkLst>
          <pc:docMk/>
          <pc:sldMk cId="1542838825" sldId="264"/>
        </pc:sldMkLst>
        <pc:spChg chg="del">
          <ac:chgData name="Colleen Eppig" userId="fd7e2a8a-6485-4b60-b7fc-0d4771a3ec47" providerId="ADAL" clId="{C84E288B-B085-441F-9B4E-E199FA5306C0}" dt="2025-07-16T12:44:08.374" v="1" actId="478"/>
          <ac:spMkLst>
            <pc:docMk/>
            <pc:sldMk cId="1542838825" sldId="264"/>
            <ac:spMk id="4" creationId="{F84F97AF-BC66-AA47-7F45-9604D512F38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B2A47B-2800-42C4-808E-D958BA76875F}" type="datetimeFigureOut">
              <a:rPr lang="en-US" smtClean="0"/>
              <a:t>7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33F2C6-B4D6-4CF3-9A47-339A37AE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219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05CE85-636D-4FBD-84A2-5D14221E58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9FB7BE-7162-777A-DD1C-251A44FBE0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DCC4A54-09FB-6AEF-E47B-BFDBE3FC42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8348EE-5700-A3D6-4B1E-871AA35D53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DBE82B-82C8-4B57-AB10-F2F8043863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2134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y_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5856480-3536-0344-A53D-DE371BB9C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3285" t="23239" b="21607"/>
          <a:stretch/>
        </p:blipFill>
        <p:spPr>
          <a:xfrm>
            <a:off x="4526731" y="2534972"/>
            <a:ext cx="3856777" cy="138877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14527F1-7553-8247-ACA1-9C28E0BA2E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8" r="1402"/>
          <a:stretch/>
        </p:blipFill>
        <p:spPr>
          <a:xfrm>
            <a:off x="0" y="0"/>
            <a:ext cx="484632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58747" y="3848099"/>
            <a:ext cx="7180285" cy="1427957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58748" y="5281688"/>
            <a:ext cx="7180286" cy="1576312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26983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Relay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51660" y="1385888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/>
              <a:t>Agenda Item 1</a:t>
            </a:r>
          </a:p>
        </p:txBody>
      </p:sp>
      <p:sp>
        <p:nvSpPr>
          <p:cNvPr id="8" name="Shape 26">
            <a:extLst>
              <a:ext uri="{FF2B5EF4-FFF2-40B4-BE49-F238E27FC236}">
                <a16:creationId xmlns:a16="http://schemas.microsoft.com/office/drawing/2014/main" id="{2D9E153B-CADE-0541-8345-5A04A5D0DEBC}"/>
              </a:ext>
            </a:extLst>
          </p:cNvPr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>
            <a:gsLst>
              <a:gs pos="0">
                <a:srgbClr val="002760"/>
              </a:gs>
              <a:gs pos="45000">
                <a:schemeClr val="accent1"/>
              </a:gs>
              <a:gs pos="100000">
                <a:srgbClr val="FFA0C7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E5405F5-03CC-2E41-A5D2-1FAAC9046DF7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851660" y="2221910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/>
              <a:t>Agenda Item 2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8B4D6D4-8695-D84D-835D-4688F20044D9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851660" y="3060088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/>
              <a:t>Agenda Item 3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1BD4F95-1281-F84C-99AB-62AFAAA564B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851660" y="3901167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/>
              <a:t>Agenda Item 4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3B8FB2-5FFB-AD4F-89E0-EFD4D2438F07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851660" y="4760092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/>
              <a:t>Agenda Item 5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D8C0390-C0CF-C94E-AB4B-C38EC0D2B8B7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851660" y="5609508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/>
              <a:t>Agenda Item 6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D0BF9BC-36BE-E84E-BAF7-707F78181A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361" t="947" b="1254"/>
          <a:stretch/>
        </p:blipFill>
        <p:spPr>
          <a:xfrm>
            <a:off x="9943112" y="177670"/>
            <a:ext cx="1853554" cy="76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0902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elay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9686" y="1277937"/>
            <a:ext cx="5564716" cy="512870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277937"/>
            <a:ext cx="5535084" cy="512870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hape 26">
            <a:extLst>
              <a:ext uri="{FF2B5EF4-FFF2-40B4-BE49-F238E27FC236}">
                <a16:creationId xmlns:a16="http://schemas.microsoft.com/office/drawing/2014/main" id="{6886280B-FBA9-8043-BEDF-6502A58593F7}"/>
              </a:ext>
            </a:extLst>
          </p:cNvPr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>
            <a:gsLst>
              <a:gs pos="0">
                <a:srgbClr val="002760"/>
              </a:gs>
              <a:gs pos="45000">
                <a:schemeClr val="accent1"/>
              </a:gs>
              <a:gs pos="100000">
                <a:srgbClr val="FFA0C7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73F26E-3FC4-464F-B4DF-82167350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361" t="947" b="1254"/>
          <a:stretch/>
        </p:blipFill>
        <p:spPr>
          <a:xfrm>
            <a:off x="9943112" y="177670"/>
            <a:ext cx="1853554" cy="76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5769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Relay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9686" y="1277940"/>
            <a:ext cx="5566833" cy="371753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9686" y="1649692"/>
            <a:ext cx="5566833" cy="47664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277940"/>
            <a:ext cx="5539317" cy="371753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1649692"/>
            <a:ext cx="5539317" cy="47664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hape 26">
            <a:extLst>
              <a:ext uri="{FF2B5EF4-FFF2-40B4-BE49-F238E27FC236}">
                <a16:creationId xmlns:a16="http://schemas.microsoft.com/office/drawing/2014/main" id="{B7BC0D04-A06C-0544-A1EF-C7414713C6C6}"/>
              </a:ext>
            </a:extLst>
          </p:cNvPr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>
            <a:gsLst>
              <a:gs pos="0">
                <a:srgbClr val="002760"/>
              </a:gs>
              <a:gs pos="45000">
                <a:schemeClr val="accent1"/>
              </a:gs>
              <a:gs pos="100000">
                <a:srgbClr val="FFA0C7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7D88C7-93AA-F644-BFC3-14B4E55B0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361" t="947" b="1254"/>
          <a:stretch/>
        </p:blipFill>
        <p:spPr>
          <a:xfrm>
            <a:off x="9943112" y="177670"/>
            <a:ext cx="1853554" cy="76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1658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Relay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hape 26">
            <a:extLst>
              <a:ext uri="{FF2B5EF4-FFF2-40B4-BE49-F238E27FC236}">
                <a16:creationId xmlns:a16="http://schemas.microsoft.com/office/drawing/2014/main" id="{BD66EA89-A85A-FC4D-868C-A27CB253BFD9}"/>
              </a:ext>
            </a:extLst>
          </p:cNvPr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>
            <a:gsLst>
              <a:gs pos="0">
                <a:srgbClr val="002760"/>
              </a:gs>
              <a:gs pos="45000">
                <a:schemeClr val="accent1"/>
              </a:gs>
              <a:gs pos="100000">
                <a:srgbClr val="FFA0C7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9A134E-8FA9-F04A-A968-4DFD63D0C3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361" t="947" b="1254"/>
          <a:stretch/>
        </p:blipFill>
        <p:spPr>
          <a:xfrm>
            <a:off x="9943112" y="177670"/>
            <a:ext cx="1853554" cy="76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280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Relay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62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- No 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B6B3A5-9E73-43C4-A4CD-664759B66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651117"/>
            <a:ext cx="1084154" cy="206883"/>
          </a:xfrm>
          <a:prstGeom prst="rect">
            <a:avLst/>
          </a:prstGeom>
        </p:spPr>
        <p:txBody>
          <a:bodyPr/>
          <a:lstStyle/>
          <a:p>
            <a:fld id="{686DADA3-D286-4898-8988-E5BE046C57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143000"/>
            <a:ext cx="11582400" cy="5372100"/>
          </a:xfrm>
          <a:prstGeom prst="rect">
            <a:avLst/>
          </a:prstGeom>
        </p:spPr>
        <p:txBody>
          <a:bodyPr>
            <a:noAutofit/>
          </a:bodyPr>
          <a:lstStyle>
            <a:lvl1pPr marL="228596" indent="-228596">
              <a:spcBef>
                <a:spcPts val="250"/>
              </a:spcBef>
              <a:spcAft>
                <a:spcPts val="25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lexandria" pitchFamily="2" charset="-78"/>
                <a:cs typeface="Alexandria" pitchFamily="2" charset="-78"/>
              </a:defRPr>
            </a:lvl1pPr>
            <a:lvl2pPr marL="457200" indent="-228600">
              <a:spcBef>
                <a:spcPts val="250"/>
              </a:spcBef>
              <a:spcAft>
                <a:spcPts val="250"/>
              </a:spcAft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Alexandria" pitchFamily="2" charset="-78"/>
                <a:cs typeface="Alexandria" pitchFamily="2" charset="-78"/>
              </a:defRPr>
            </a:lvl2pPr>
            <a:lvl3pPr marL="685800" indent="-228600">
              <a:spcBef>
                <a:spcPts val="250"/>
              </a:spcBef>
              <a:spcAft>
                <a:spcPts val="25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lexandria" pitchFamily="2" charset="-78"/>
                <a:cs typeface="Alexandria" pitchFamily="2" charset="-78"/>
              </a:defRPr>
            </a:lvl3pPr>
            <a:lvl4pPr marL="914400" indent="-228600">
              <a:spcBef>
                <a:spcPts val="250"/>
              </a:spcBef>
              <a:spcAft>
                <a:spcPts val="250"/>
              </a:spcAft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Alexandria" pitchFamily="2" charset="-78"/>
                <a:cs typeface="Alexandria" pitchFamily="2" charset="-78"/>
              </a:defRPr>
            </a:lvl4pPr>
            <a:lvl5pPr marL="1143000" indent="-228600">
              <a:spcBef>
                <a:spcPts val="250"/>
              </a:spcBef>
              <a:spcAft>
                <a:spcPts val="25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lexandria" pitchFamily="2" charset="-78"/>
                <a:cs typeface="Alexandria" pitchFamily="2" charset="-7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14301"/>
            <a:ext cx="9498419" cy="914400"/>
          </a:xfrm>
          <a:prstGeom prst="rect">
            <a:avLst/>
          </a:prstGeom>
        </p:spPr>
        <p:txBody>
          <a:bodyPr anchor="ctr"/>
          <a:lstStyle>
            <a:lvl1pPr>
              <a:defRPr sz="2400" cap="none" spc="0" baseline="0">
                <a:solidFill>
                  <a:schemeClr val="tx2"/>
                </a:solidFill>
                <a:latin typeface="Alexandria" pitchFamily="2" charset="-78"/>
                <a:cs typeface="Alexandria" pitchFamily="2" charset="-7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Relay Therapeutics – Foresite Capital">
            <a:extLst>
              <a:ext uri="{FF2B5EF4-FFF2-40B4-BE49-F238E27FC236}">
                <a16:creationId xmlns:a16="http://schemas.microsoft.com/office/drawing/2014/main" id="{0C270CB0-B4D6-83E0-0036-203FDDEDB0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6173" y="32242"/>
            <a:ext cx="1479547" cy="669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4346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y_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0C728EF-ED97-CA4E-B6D3-D9E50F16EE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5BDC042-8330-2247-B8A4-869A7778A0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5047"/>
          <a:stretch/>
        </p:blipFill>
        <p:spPr>
          <a:xfrm>
            <a:off x="4544840" y="1790009"/>
            <a:ext cx="4339000" cy="3060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56235" y="3848099"/>
            <a:ext cx="7180285" cy="1427957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58748" y="5281688"/>
            <a:ext cx="7180286" cy="1576312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3835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5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y_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8999" y="498802"/>
            <a:ext cx="8325799" cy="29041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9000" y="3517023"/>
            <a:ext cx="8325800" cy="2040320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F855E3B-A27E-9F45-B728-5BFC8AAB4C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683"/>
          <a:stretch/>
        </p:blipFill>
        <p:spPr>
          <a:xfrm>
            <a:off x="0" y="0"/>
            <a:ext cx="4599805" cy="59492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8FE4228-E2BC-EA4E-BCF0-B06D13092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0215" t="30338" r="39889" b="29469"/>
          <a:stretch/>
        </p:blipFill>
        <p:spPr>
          <a:xfrm>
            <a:off x="818388" y="2374539"/>
            <a:ext cx="1772223" cy="201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005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y_Transition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DDB31B-FA1F-8449-A91C-09F258D50C7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8999" y="498802"/>
            <a:ext cx="8325799" cy="29041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9000" y="3517023"/>
            <a:ext cx="8325800" cy="2040320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F855E3B-A27E-9F45-B728-5BFC8AAB4C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683"/>
          <a:stretch/>
        </p:blipFill>
        <p:spPr>
          <a:xfrm>
            <a:off x="0" y="0"/>
            <a:ext cx="4599805" cy="59492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8FE4228-E2BC-EA4E-BCF0-B06D13092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0215" t="30338" r="39889" b="29469"/>
          <a:stretch/>
        </p:blipFill>
        <p:spPr>
          <a:xfrm>
            <a:off x="818388" y="2374539"/>
            <a:ext cx="1772223" cy="201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8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y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BDC1B22-3FD1-E14C-B384-83257E77E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6E84E44-0C93-6341-A76A-8D57C407C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0215" t="30338" r="39889" b="29469"/>
          <a:stretch/>
        </p:blipFill>
        <p:spPr>
          <a:xfrm>
            <a:off x="5090990" y="2578468"/>
            <a:ext cx="1772223" cy="201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46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lay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BDC1B22-3FD1-E14C-B384-83257E77E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9A375E6-E894-6245-B9C4-A9D40E2920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5047"/>
          <a:stretch/>
        </p:blipFill>
        <p:spPr>
          <a:xfrm>
            <a:off x="5160475" y="1943427"/>
            <a:ext cx="4237022" cy="29887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F07A6E-35BB-D14D-9984-77793F8AD0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8" r="1402"/>
          <a:stretch/>
        </p:blipFill>
        <p:spPr>
          <a:xfrm>
            <a:off x="3657600" y="2435382"/>
            <a:ext cx="1395501" cy="197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752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lay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BDC1B22-3FD1-E14C-B384-83257E77E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9A375E6-E894-6245-B9C4-A9D40E2920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6596"/>
          <a:stretch/>
        </p:blipFill>
        <p:spPr>
          <a:xfrm>
            <a:off x="3304515" y="1943427"/>
            <a:ext cx="6092982" cy="298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486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y_End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2CE3F64-8051-7A48-AE3B-4B847888D4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8" t="15046" r="-2893" b="10642"/>
          <a:stretch/>
        </p:blipFill>
        <p:spPr>
          <a:xfrm>
            <a:off x="1449551" y="-347662"/>
            <a:ext cx="9397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1BDA1FB-5BDC-B945-8434-126C55FA56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0215" t="30338" r="39889" b="29469"/>
          <a:stretch/>
        </p:blipFill>
        <p:spPr>
          <a:xfrm>
            <a:off x="5090990" y="2578468"/>
            <a:ext cx="1772223" cy="201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232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elay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0BFB530-7D63-CD45-9757-B39E6F8922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361" t="947" b="1254"/>
          <a:stretch/>
        </p:blipFill>
        <p:spPr>
          <a:xfrm>
            <a:off x="9943112" y="177670"/>
            <a:ext cx="1853554" cy="7638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hape 26">
            <a:extLst>
              <a:ext uri="{FF2B5EF4-FFF2-40B4-BE49-F238E27FC236}">
                <a16:creationId xmlns:a16="http://schemas.microsoft.com/office/drawing/2014/main" id="{2D9E153B-CADE-0541-8345-5A04A5D0DEBC}"/>
              </a:ext>
            </a:extLst>
          </p:cNvPr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>
            <a:gsLst>
              <a:gs pos="0">
                <a:srgbClr val="002760"/>
              </a:gs>
              <a:gs pos="45000">
                <a:schemeClr val="accent1"/>
              </a:gs>
              <a:gs pos="100000">
                <a:srgbClr val="FFA0C7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70296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56403E0-3914-4076-9A7E-54BA5F280C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89770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56403E0-3914-4076-9A7E-54BA5F280C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8FCA84-8A86-4B61-A94C-E6CEE9F15AA0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1" y="42151"/>
            <a:ext cx="9608819" cy="9903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9684" y="1286321"/>
            <a:ext cx="11303000" cy="52910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44F51C-A013-2E4D-9454-08EE37120DEB}"/>
              </a:ext>
            </a:extLst>
          </p:cNvPr>
          <p:cNvSpPr txBox="1"/>
          <p:nvPr userDrawn="1"/>
        </p:nvSpPr>
        <p:spPr>
          <a:xfrm>
            <a:off x="11297046" y="6577373"/>
            <a:ext cx="575044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A68BCD3-1146-684A-8DA5-061296C8E07B}" type="slidenum">
              <a:rPr lang="en-US" sz="750" smtClean="0">
                <a:solidFill>
                  <a:srgbClr val="8C8C8C"/>
                </a:solidFill>
              </a:rPr>
              <a:pPr algn="r"/>
              <a:t>‹#›</a:t>
            </a:fld>
            <a:endParaRPr lang="en-US" sz="750">
              <a:solidFill>
                <a:srgbClr val="8C8C8C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083729-D830-F84A-9DA0-D4C84EE7CB1F}"/>
              </a:ext>
            </a:extLst>
          </p:cNvPr>
          <p:cNvSpPr txBox="1"/>
          <p:nvPr userDrawn="1"/>
        </p:nvSpPr>
        <p:spPr>
          <a:xfrm>
            <a:off x="422276" y="6578389"/>
            <a:ext cx="579628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>
                <a:solidFill>
                  <a:srgbClr val="8C8C8C"/>
                </a:solidFill>
              </a:rPr>
              <a:t> © 2025 Relay Therapeutics</a:t>
            </a:r>
          </a:p>
        </p:txBody>
      </p:sp>
    </p:spTree>
    <p:extLst>
      <p:ext uri="{BB962C8B-B14F-4D97-AF65-F5344CB8AC3E}">
        <p14:creationId xmlns:p14="http://schemas.microsoft.com/office/powerpoint/2010/main" val="2328109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dt="0"/>
  <p:txStyles>
    <p:titleStyle>
      <a:lvl1pPr algn="l" defTabSz="457189" rtl="0" eaLnBrk="1" latinLnBrk="0" hangingPunct="1">
        <a:spcBef>
          <a:spcPct val="0"/>
        </a:spcBef>
        <a:buNone/>
        <a:defRPr sz="2200" b="1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45718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Arial"/>
        <a:buNone/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61963" indent="-223838" algn="l" defTabSz="45718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tabLst/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7575" indent="-231775" algn="l" defTabSz="45718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System Font Regular"/>
        <a:buChar char="–"/>
        <a:tabLst/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3188" indent="-223838" algn="l" defTabSz="45718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tabLst/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-254000" algn="l" defTabSz="45718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System Font Regular"/>
        <a:buChar char="–"/>
        <a:tabLst/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8">
          <p15:clr>
            <a:srgbClr val="F26B43"/>
          </p15:clr>
        </p15:guide>
        <p15:guide id="2" pos="264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873">
          <p15:clr>
            <a:srgbClr val="F26B43"/>
          </p15:clr>
        </p15:guide>
        <p15:guide id="5" orient="horz" pos="394">
          <p15:clr>
            <a:srgbClr val="F26B43"/>
          </p15:clr>
        </p15:guide>
        <p15:guide id="6" pos="3829">
          <p15:clr>
            <a:srgbClr val="F26B43"/>
          </p15:clr>
        </p15:guide>
        <p15:guide id="7" orient="horz" pos="40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555030-5625-0915-FE43-3120BB3933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E9B36B6-937B-F72A-9E9E-699F6C475B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B36B6-937B-F72A-9E9E-699F6C475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12D951-1C55-EC7A-1991-8D9168A01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LY-2608-102 | Registrational Trial for Post-CDK4/6 Inhibitor </a:t>
            </a:r>
            <a:r>
              <a:rPr lang="en-US" b="1"/>
              <a:t>HR+/HER2− Advanced Breast Cancer With a </a:t>
            </a:r>
            <a:r>
              <a:rPr lang="en-US" b="1" i="1"/>
              <a:t>PIK3CA</a:t>
            </a:r>
            <a:r>
              <a:rPr lang="en-US" b="1"/>
              <a:t> Mutation</a:t>
            </a:r>
            <a:r>
              <a:rPr lang="en-US"/>
              <a:t> (NCT06982521)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D0711B4A-1DB2-1C32-F7E8-A4319C4BAFDE}"/>
              </a:ext>
            </a:extLst>
          </p:cNvPr>
          <p:cNvSpPr/>
          <p:nvPr/>
        </p:nvSpPr>
        <p:spPr>
          <a:xfrm>
            <a:off x="6123913" y="4326507"/>
            <a:ext cx="5159173" cy="73566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primary endpoints (hierarchical): PFS (kinase), PFS (overall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secondary endpoint: O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ditional secondary endpoints: ORR,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R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BR, Qo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6B02866-E561-1221-94EE-DECF773E6FBB}"/>
              </a:ext>
            </a:extLst>
          </p:cNvPr>
          <p:cNvSpPr txBox="1"/>
          <p:nvPr/>
        </p:nvSpPr>
        <p:spPr>
          <a:xfrm>
            <a:off x="6456218" y="2243511"/>
            <a:ext cx="7310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=540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D328130-5027-BCC6-11FB-693AE2C69C60}"/>
              </a:ext>
            </a:extLst>
          </p:cNvPr>
          <p:cNvSpPr/>
          <p:nvPr/>
        </p:nvSpPr>
        <p:spPr>
          <a:xfrm>
            <a:off x="5457157" y="3199859"/>
            <a:ext cx="1730085" cy="917303"/>
          </a:xfrm>
          <a:prstGeom prst="roundRect">
            <a:avLst>
              <a:gd name="adj" fmla="val 7479"/>
            </a:avLst>
          </a:prstGeom>
          <a:solidFill>
            <a:srgbClr val="D9D9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FBFB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ification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1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K3CA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utation typ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ceral disea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ography</a:t>
            </a:r>
          </a:p>
        </p:txBody>
      </p:sp>
      <p:sp>
        <p:nvSpPr>
          <p:cNvPr id="33" name="ee4pFootnotes">
            <a:extLst>
              <a:ext uri="{FF2B5EF4-FFF2-40B4-BE49-F238E27FC236}">
                <a16:creationId xmlns:a16="http://schemas.microsoft.com/office/drawing/2014/main" id="{EF793B83-2E43-E580-0292-2443B6DDD921}"/>
              </a:ext>
            </a:extLst>
          </p:cNvPr>
          <p:cNvSpPr txBox="1"/>
          <p:nvPr/>
        </p:nvSpPr>
        <p:spPr>
          <a:xfrm>
            <a:off x="466678" y="5967961"/>
            <a:ext cx="11268122" cy="6155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 err="1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a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Diseas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 progression during or within 1 year of completing adjuvant therapy;  </a:t>
            </a:r>
            <a:r>
              <a:rPr kumimoji="0" lang="en-US" sz="800" b="0" i="0" u="none" strike="noStrike" kern="1200" cap="none" spc="0" normalizeH="0" baseline="30000" noProof="0" err="1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b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Applie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 to chemotherapy administered in the advanced setting.</a:t>
            </a:r>
            <a:endParaRPr kumimoji="0" lang="en-US" sz="800" b="0" i="0" u="none" strike="noStrike" kern="1200" cap="none" spc="0" normalizeH="0" baseline="30000" noProof="0">
              <a:ln>
                <a:noFill/>
              </a:ln>
              <a:solidFill>
                <a:srgbClr val="242424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ADC, antibody-drug conjugate; AKT, protein kinase B; BID, twice daily; CBR, clinical benefit rate; CDK, cyclin-dependent kinase; ECOG PS, Eastern Cooperative Oncology Group performance status; ET, endocrine therapy;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DoR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, duration of respons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HER2−, human epidermal growth factor receptor 2 negative; HR+, hormone receptor positive;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mo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, months; mTOR, mammalian target of rapamycin; ORR, objective response rate; OS, overall survival; PFS, progression-free survival; PIK3CA, phosphatidylinositol-4,5-bisphosphate 3-kinase catalytic subunit alpha;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TEN, phosphatase and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si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omolog;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Trebuchet MS" panose="020B060302020202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QoL, quality of life; R, randomization; RECIST, Response Evaluation Criteria in Solid Tumor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42424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Relay Therapeutics, data on file.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CBDFCCB-9D49-C829-0FF4-CCCC530053B0}"/>
              </a:ext>
            </a:extLst>
          </p:cNvPr>
          <p:cNvGrpSpPr/>
          <p:nvPr/>
        </p:nvGrpSpPr>
        <p:grpSpPr>
          <a:xfrm>
            <a:off x="7252895" y="1207696"/>
            <a:ext cx="4765144" cy="2379407"/>
            <a:chOff x="7357108" y="1442461"/>
            <a:chExt cx="4414684" cy="2385199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55F255BA-4F48-0F88-1F1D-6476B1290EC7}"/>
                </a:ext>
              </a:extLst>
            </p:cNvPr>
            <p:cNvSpPr/>
            <p:nvPr/>
          </p:nvSpPr>
          <p:spPr>
            <a:xfrm>
              <a:off x="7357108" y="1442461"/>
              <a:ext cx="4414684" cy="96777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LY-2608 (400 mg BID fed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+ fulvestrant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816DDE08-AE5B-7E4C-D553-87F9A3168E3D}"/>
                </a:ext>
              </a:extLst>
            </p:cNvPr>
            <p:cNvSpPr/>
            <p:nvPr/>
          </p:nvSpPr>
          <p:spPr>
            <a:xfrm>
              <a:off x="7357108" y="2859882"/>
              <a:ext cx="4414684" cy="96777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24242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apivasertib (400 mg BID 4 days on, 3 days off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24242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+ fulvestrant</a:t>
              </a:r>
            </a:p>
          </p:txBody>
        </p:sp>
      </p:grp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90D99403-B6AB-D770-C3C9-8EFDD091D78D}"/>
              </a:ext>
            </a:extLst>
          </p:cNvPr>
          <p:cNvSpPr/>
          <p:nvPr/>
        </p:nvSpPr>
        <p:spPr>
          <a:xfrm>
            <a:off x="58642" y="1304925"/>
            <a:ext cx="5342034" cy="3777386"/>
          </a:xfrm>
          <a:prstGeom prst="roundRect">
            <a:avLst>
              <a:gd name="adj" fmla="val 7479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gibility Criteria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2720" marR="0" lvl="0" indent="-1695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2720" marR="0" lvl="0" indent="-1695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OG PS 0-1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72720" marR="0" lvl="0" indent="-1695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K3CA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tation with no known </a:t>
            </a: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TEN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 </a:t>
            </a: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ut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72720" marR="0" lvl="0" indent="-1695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asurable disease per RECIST v1.1 or evaluable bone-only diseas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72720" marR="0" lvl="0" indent="-1695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ession on or after previous ABC treatment with: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63182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-2 lines ET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63182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prior CDK4/6 inhibitor in either the metastatic or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juvant</a:t>
            </a:r>
            <a:r>
              <a:rPr kumimoji="0" lang="en-US" sz="1200" b="1" i="0" u="none" strike="noStrike" kern="1200" cap="none" spc="0" normalizeH="0" baseline="30000" noProof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tting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2720" marR="0" lvl="0" indent="-1695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 to 1 prior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emotherapy</a:t>
            </a:r>
            <a:r>
              <a:rPr kumimoji="0" lang="en-US" sz="1200" b="1" i="0" u="none" strike="noStrike" kern="1200" cap="none" spc="0" normalizeH="0" baseline="30000" noProof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no prior ADC)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72720" marR="0" lvl="0" indent="-1695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72720" marR="0" lvl="0" indent="-1695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or treatment with PI3Ki,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i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TORi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DC, IO, investigative CDK2 or 4i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ession on ≤6mo ET-based regimen for advanced breast cancer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e 1 diabetes, or type 2 diabetes requiring antihyperglycemic medication,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 fasting plasma glucose ≥140 mg/dL, or glycosylated hemoglobin (HbA1c)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≥7.0% (≥53 mmol/mol)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A5BF2D63-6605-059D-06A8-212B2FA3D7F4}"/>
              </a:ext>
            </a:extLst>
          </p:cNvPr>
          <p:cNvCxnSpPr>
            <a:cxnSpLocks/>
            <a:stCxn id="42" idx="4"/>
            <a:endCxn id="39" idx="1"/>
          </p:cNvCxnSpPr>
          <p:nvPr/>
        </p:nvCxnSpPr>
        <p:spPr>
          <a:xfrm rot="16200000" flipH="1">
            <a:off x="6499833" y="2351327"/>
            <a:ext cx="377142" cy="1128982"/>
          </a:xfrm>
          <a:prstGeom prst="bentConnector2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4A0A66AC-703C-DE9E-2CF6-0FA9BFE73284}"/>
              </a:ext>
            </a:extLst>
          </p:cNvPr>
          <p:cNvCxnSpPr>
            <a:cxnSpLocks/>
            <a:stCxn id="42" idx="0"/>
            <a:endCxn id="38" idx="1"/>
          </p:cNvCxnSpPr>
          <p:nvPr/>
        </p:nvCxnSpPr>
        <p:spPr>
          <a:xfrm rot="5400000" flipH="1" flipV="1">
            <a:off x="6499833" y="1314491"/>
            <a:ext cx="377143" cy="1128982"/>
          </a:xfrm>
          <a:prstGeom prst="bentConnector2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Oval 41">
            <a:extLst>
              <a:ext uri="{FF2B5EF4-FFF2-40B4-BE49-F238E27FC236}">
                <a16:creationId xmlns:a16="http://schemas.microsoft.com/office/drawing/2014/main" id="{CFAE1F68-840B-8836-8928-DA9365DC8FEA}"/>
              </a:ext>
            </a:extLst>
          </p:cNvPr>
          <p:cNvSpPr/>
          <p:nvPr/>
        </p:nvSpPr>
        <p:spPr>
          <a:xfrm>
            <a:off x="5794066" y="2067553"/>
            <a:ext cx="659694" cy="659694"/>
          </a:xfrm>
          <a:prstGeom prst="ellipse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1: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981CE0-3717-8CFF-D6F6-FE6FFB481DC8}"/>
              </a:ext>
            </a:extLst>
          </p:cNvPr>
          <p:cNvSpPr txBox="1"/>
          <p:nvPr/>
        </p:nvSpPr>
        <p:spPr>
          <a:xfrm>
            <a:off x="340777" y="1878693"/>
            <a:ext cx="2191962" cy="232579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txBody>
          <a:bodyPr wrap="square" lIns="9144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98C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lusion criteri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093554-A6BA-22CD-2AB5-20C0428F1344}"/>
              </a:ext>
            </a:extLst>
          </p:cNvPr>
          <p:cNvSpPr txBox="1"/>
          <p:nvPr/>
        </p:nvSpPr>
        <p:spPr>
          <a:xfrm>
            <a:off x="340777" y="3736636"/>
            <a:ext cx="2191962" cy="232579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txBody>
          <a:bodyPr wrap="square" lIns="91440" tIns="0" rIns="0" bIns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98C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clusion criteria</a:t>
            </a:r>
          </a:p>
        </p:txBody>
      </p:sp>
    </p:spTree>
    <p:extLst>
      <p:ext uri="{BB962C8B-B14F-4D97-AF65-F5344CB8AC3E}">
        <p14:creationId xmlns:p14="http://schemas.microsoft.com/office/powerpoint/2010/main" val="1542838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BrLosGGjDcwwDwAcvX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lay Therapeutics Template">
  <a:themeElements>
    <a:clrScheme name="Custom 364">
      <a:dk1>
        <a:srgbClr val="242424"/>
      </a:dk1>
      <a:lt1>
        <a:srgbClr val="FFFFFF"/>
      </a:lt1>
      <a:dk2>
        <a:srgbClr val="1D3C73"/>
      </a:dk2>
      <a:lt2>
        <a:srgbClr val="2896E0"/>
      </a:lt2>
      <a:accent1>
        <a:srgbClr val="016EBD"/>
      </a:accent1>
      <a:accent2>
        <a:srgbClr val="4149A3"/>
      </a:accent2>
      <a:accent3>
        <a:srgbClr val="8F95D0"/>
      </a:accent3>
      <a:accent4>
        <a:srgbClr val="80CBFE"/>
      </a:accent4>
      <a:accent5>
        <a:srgbClr val="00A792"/>
      </a:accent5>
      <a:accent6>
        <a:srgbClr val="FF98C7"/>
      </a:accent6>
      <a:hlink>
        <a:srgbClr val="016EFE"/>
      </a:hlink>
      <a:folHlink>
        <a:srgbClr val="1D3C7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50000"/>
              <a:lumOff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000" b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lay Template_2023.potx" id="{FA2A8A10-56B9-4971-BF5D-C4E9EEDB3791}" vid="{B60AE517-7CE4-4FC4-B9DD-A1B6BCE0105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2</Words>
  <Application>Microsoft Office PowerPoint</Application>
  <PresentationFormat>Widescreen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lexandria</vt:lpstr>
      <vt:lpstr>Aptos</vt:lpstr>
      <vt:lpstr>Arial</vt:lpstr>
      <vt:lpstr>Calibri</vt:lpstr>
      <vt:lpstr>Courier New</vt:lpstr>
      <vt:lpstr>System Font Regular</vt:lpstr>
      <vt:lpstr>Relay Therapeutics Template</vt:lpstr>
      <vt:lpstr>think-cell Slide</vt:lpstr>
      <vt:lpstr>RLY-2608-102 | Registrational Trial for Post-CDK4/6 Inhibitor HR+/HER2− Advanced Breast Cancer With a PIK3CA Mutation (NCT06982521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olleen Eppig</dc:creator>
  <cp:lastModifiedBy>Colleen Eppig</cp:lastModifiedBy>
  <cp:revision>1</cp:revision>
  <dcterms:created xsi:type="dcterms:W3CDTF">2025-07-16T12:42:22Z</dcterms:created>
  <dcterms:modified xsi:type="dcterms:W3CDTF">2025-07-16T12:44:28Z</dcterms:modified>
</cp:coreProperties>
</file>